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60" r:id="rId5"/>
  </p:sldMasterIdLst>
  <p:sldIdLst>
    <p:sldId id="2145706283" r:id="rId6"/>
    <p:sldId id="2145706285" r:id="rId7"/>
    <p:sldId id="2145706289" r:id="rId8"/>
    <p:sldId id="2145706290" r:id="rId9"/>
    <p:sldId id="2145706292" r:id="rId10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068E337-8C6A-964E-5085-D02E42956B0D}" name="Sarah Hingel" initials="SH" userId="S::sarah.hingel@finddx.org::cad2f3ff-81c2-49d3-9bee-4c5d604850df" providerId="AD"/>
  <p188:author id="{BFCAB051-889A-0FD9-1F11-77DF7CB70F2E}" name="Benjamin Blumel" initials="BB" userId="S::Benjamin.Blumel@Finddx.org::dc12c01c-e752-4e5e-9580-5e62fcf4c82f" providerId="AD"/>
  <p188:author id="{60A7B873-B116-6B12-8DF8-21D689016408}" name="Borkman, April L." initials="AB" userId="S::alo@musc.edu::86cdf992-81d6-4d43-a792-ec39c9cf534c" providerId="AD"/>
  <p188:author id="{4B36B9C7-DE06-142B-6B6B-75D0B120B614}" name="Alix Boisson-Walsh" initials="AB" userId="S::ajb567@njms.rutgers.edu::65507e4a-796e-4bda-b459-f8a86669a704" providerId="AD"/>
  <p188:author id="{49991AEE-D0A8-94BA-A3F4-54358B7D56B4}" name="Romain Wyss" initials="" userId="S::romain.wyss@Finddx.org::61a8239e-6b55-4139-8f56-04368ca4075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nifer Osborn" initials="JO" lastIdx="3" clrIdx="0">
    <p:extLst>
      <p:ext uri="{19B8F6BF-5375-455C-9EA6-DF929625EA0E}">
        <p15:presenceInfo xmlns:p15="http://schemas.microsoft.com/office/powerpoint/2012/main" userId="Jennifer Osborn" providerId="None"/>
      </p:ext>
    </p:extLst>
  </p:cmAuthor>
  <p:cmAuthor id="2" name="Kavi Ramjeet" initials="KR" lastIdx="1" clrIdx="1">
    <p:extLst>
      <p:ext uri="{19B8F6BF-5375-455C-9EA6-DF929625EA0E}">
        <p15:presenceInfo xmlns:p15="http://schemas.microsoft.com/office/powerpoint/2012/main" userId="S::kavi.ramjeet@finddx.org::67ed934a-74e9-4d89-9322-3bf308a42b0b" providerId="AD"/>
      </p:ext>
    </p:extLst>
  </p:cmAuthor>
  <p:cmAuthor id="3" name="Marco Donolato" initials="MD" lastIdx="11" clrIdx="2">
    <p:extLst>
      <p:ext uri="{19B8F6BF-5375-455C-9EA6-DF929625EA0E}">
        <p15:presenceInfo xmlns:p15="http://schemas.microsoft.com/office/powerpoint/2012/main" userId="S::marco.donolato@finddx.org::1b92d030-399e-4fa6-8faa-139e2969a557" providerId="AD"/>
      </p:ext>
    </p:extLst>
  </p:cmAuthor>
  <p:cmAuthor id="4" name="Jennifer Osborn" initials="JO [2]" lastIdx="4" clrIdx="3">
    <p:extLst>
      <p:ext uri="{19B8F6BF-5375-455C-9EA6-DF929625EA0E}">
        <p15:presenceInfo xmlns:p15="http://schemas.microsoft.com/office/powerpoint/2012/main" userId="S::jennifer.osborn@finddx.org::28f683db-e62b-46a7-b534-fbc9f31fcb37" providerId="AD"/>
      </p:ext>
    </p:extLst>
  </p:cmAuthor>
  <p:cmAuthor id="5" name="Peter Dailey" initials="PD" lastIdx="1" clrIdx="4">
    <p:extLst>
      <p:ext uri="{19B8F6BF-5375-455C-9EA6-DF929625EA0E}">
        <p15:presenceInfo xmlns:p15="http://schemas.microsoft.com/office/powerpoint/2012/main" userId="S::peter.dailey@finddx.org::560c39fb-ba96-4491-ac04-480867aafdfc" providerId="AD"/>
      </p:ext>
    </p:extLst>
  </p:cmAuthor>
  <p:cmAuthor id="6" name="Laura Mazzola" initials="LM" lastIdx="3" clrIdx="5">
    <p:extLst>
      <p:ext uri="{19B8F6BF-5375-455C-9EA6-DF929625EA0E}">
        <p15:presenceInfo xmlns:p15="http://schemas.microsoft.com/office/powerpoint/2012/main" userId="S::laura.mazzola@finddx.org::19a17277-ac0d-4f7e-9c17-a8e977e650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22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098"/>
    <p:restoredTop sz="94685"/>
  </p:normalViewPr>
  <p:slideViewPr>
    <p:cSldViewPr snapToGrid="0">
      <p:cViewPr varScale="1">
        <p:scale>
          <a:sx n="107" d="100"/>
          <a:sy n="107" d="100"/>
        </p:scale>
        <p:origin x="168" y="3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x Boisson-Walsh" userId="65507e4a-796e-4bda-b459-f8a86669a704" providerId="ADAL" clId="{389A3F8D-C4C9-284D-A721-7C26C4B8DBE0}"/>
    <pc:docChg chg="delSld modSld">
      <pc:chgData name="Alix Boisson-Walsh" userId="65507e4a-796e-4bda-b459-f8a86669a704" providerId="ADAL" clId="{389A3F8D-C4C9-284D-A721-7C26C4B8DBE0}" dt="2025-08-12T18:00:10.354" v="54" actId="20577"/>
      <pc:docMkLst>
        <pc:docMk/>
      </pc:docMkLst>
      <pc:sldChg chg="del">
        <pc:chgData name="Alix Boisson-Walsh" userId="65507e4a-796e-4bda-b459-f8a86669a704" providerId="ADAL" clId="{389A3F8D-C4C9-284D-A721-7C26C4B8DBE0}" dt="2025-08-12T17:59:31.254" v="0" actId="2696"/>
        <pc:sldMkLst>
          <pc:docMk/>
          <pc:sldMk cId="3717582188" sldId="2145706282"/>
        </pc:sldMkLst>
      </pc:sldChg>
      <pc:sldChg chg="modSp mod">
        <pc:chgData name="Alix Boisson-Walsh" userId="65507e4a-796e-4bda-b459-f8a86669a704" providerId="ADAL" clId="{389A3F8D-C4C9-284D-A721-7C26C4B8DBE0}" dt="2025-08-12T17:59:53.935" v="11" actId="20577"/>
        <pc:sldMkLst>
          <pc:docMk/>
          <pc:sldMk cId="3965869066" sldId="2145706289"/>
        </pc:sldMkLst>
        <pc:spChg chg="mod">
          <ac:chgData name="Alix Boisson-Walsh" userId="65507e4a-796e-4bda-b459-f8a86669a704" providerId="ADAL" clId="{389A3F8D-C4C9-284D-A721-7C26C4B8DBE0}" dt="2025-08-12T17:59:53.935" v="11" actId="20577"/>
          <ac:spMkLst>
            <pc:docMk/>
            <pc:sldMk cId="3965869066" sldId="2145706289"/>
            <ac:spMk id="2" creationId="{D810E837-3FEC-BEA4-501D-F3EC40E00F8F}"/>
          </ac:spMkLst>
        </pc:spChg>
      </pc:sldChg>
      <pc:sldChg chg="modSp mod">
        <pc:chgData name="Alix Boisson-Walsh" userId="65507e4a-796e-4bda-b459-f8a86669a704" providerId="ADAL" clId="{389A3F8D-C4C9-284D-A721-7C26C4B8DBE0}" dt="2025-08-12T18:00:10.354" v="54" actId="20577"/>
        <pc:sldMkLst>
          <pc:docMk/>
          <pc:sldMk cId="1400797612" sldId="2145706290"/>
        </pc:sldMkLst>
        <pc:spChg chg="mod">
          <ac:chgData name="Alix Boisson-Walsh" userId="65507e4a-796e-4bda-b459-f8a86669a704" providerId="ADAL" clId="{389A3F8D-C4C9-284D-A721-7C26C4B8DBE0}" dt="2025-08-12T18:00:10.354" v="54" actId="20577"/>
          <ac:spMkLst>
            <pc:docMk/>
            <pc:sldMk cId="1400797612" sldId="2145706290"/>
            <ac:spMk id="2" creationId="{7A915FE5-8CC0-E3F3-8306-EC6CA011D6B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389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36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731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754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 </a:t>
            </a:r>
            <a:r>
              <a:rPr lang="en-US" noProof="0" err="1"/>
              <a:t>consectetu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endParaRPr lang="en-US" noProof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7561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 </a:t>
            </a:r>
            <a:r>
              <a:rPr lang="en-US" noProof="0" err="1"/>
              <a:t>consectetu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endParaRPr lang="en-US" noProof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47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/>
              <a:t>#</a:t>
            </a:r>
            <a:endParaRPr lang="en-GB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23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095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11">
            <a:extLst>
              <a:ext uri="{FF2B5EF4-FFF2-40B4-BE49-F238E27FC236}">
                <a16:creationId xmlns:a16="http://schemas.microsoft.com/office/drawing/2014/main" id="{C8ABE6D1-6F90-5143-9E46-81A6567A50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6037269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3852" y="480075"/>
            <a:ext cx="4212000" cy="308122"/>
          </a:xfrm>
        </p:spPr>
        <p:txBody>
          <a:bodyPr anchor="b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2614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121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9251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206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/>
              <a:t>Haga clic para modificar los estilos de texto del patrón</a:t>
            </a:r>
          </a:p>
          <a:p>
            <a:pPr lvl="1"/>
            <a:r>
              <a:rPr lang="en-US" noProof="0"/>
              <a:t>Segundo nivel</a:t>
            </a:r>
          </a:p>
          <a:p>
            <a:pPr lvl="2"/>
            <a:r>
              <a:rPr lang="en-US" noProof="0"/>
              <a:t>Tercer nivel</a:t>
            </a:r>
          </a:p>
          <a:p>
            <a:pPr lvl="3"/>
            <a:r>
              <a:rPr lang="en-US" noProof="0"/>
              <a:t>Cuarto nivel</a:t>
            </a:r>
          </a:p>
          <a:p>
            <a:pPr lvl="4"/>
            <a:r>
              <a:rPr lang="en-US" noProof="0"/>
              <a:t>Quinto nivel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3666087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4594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424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136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026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05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04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99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467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749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44336" y="480075"/>
            <a:ext cx="9360000" cy="30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10234863" y="-19547"/>
            <a:ext cx="1796716" cy="89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9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2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16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6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6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1EB6F8-FD10-4D43-B430-24AF1F8B3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607" y="1885081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cap="all" spc="300" dirty="0">
                <a:solidFill>
                  <a:schemeClr val="accent1">
                    <a:lumMod val="75000"/>
                  </a:schemeClr>
                </a:solidFill>
                <a:latin typeface="Franklin Gothic Medium" panose="020B0603020102020204" pitchFamily="34" charset="0"/>
                <a:ea typeface="+mn-ea"/>
                <a:cs typeface="+mn-cs"/>
              </a:rPr>
              <a:t>Instru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840625-91EF-4291-B8C2-BA6D4CAC7168}"/>
              </a:ext>
            </a:extLst>
          </p:cNvPr>
          <p:cNvSpPr txBox="1"/>
          <p:nvPr/>
        </p:nvSpPr>
        <p:spPr>
          <a:xfrm>
            <a:off x="744607" y="3008781"/>
            <a:ext cx="9257471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Please fill out the template deck as completely as possible. Note that some information may not be known or applicable for your application; complete all relevant sections.</a:t>
            </a:r>
            <a:endParaRPr lang="en-US" dirty="0"/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Limit to no more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han 5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slides excluding </a:t>
            </a:r>
            <a:r>
              <a:rPr lang="en-US" dirty="0">
                <a:latin typeface="Arial"/>
                <a:cs typeface="Arial"/>
              </a:rPr>
              <a:t>the title and instructions slide.</a:t>
            </a:r>
          </a:p>
          <a:p>
            <a:pPr marL="285750" indent="-285750">
              <a:buFont typeface="Arial"/>
              <a:buChar char="•"/>
            </a:pPr>
            <a:endParaRPr lang="en-US" sz="140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6" name="Picture 5" descr="A logo for a company&#10;&#10;AI-generated content may be incorrect.">
            <a:extLst>
              <a:ext uri="{FF2B5EF4-FFF2-40B4-BE49-F238E27FC236}">
                <a16:creationId xmlns:a16="http://schemas.microsoft.com/office/drawing/2014/main" id="{E5D5C7FD-7808-4CD4-3753-804D1868BB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835" y="5111996"/>
            <a:ext cx="2599165" cy="174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265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1EB6F8-FD10-4D43-B430-24AF1F8B3D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9153" y="1151860"/>
            <a:ext cx="9513693" cy="2387600"/>
          </a:xfrm>
        </p:spPr>
        <p:txBody>
          <a:bodyPr>
            <a:normAutofit/>
          </a:bodyPr>
          <a:lstStyle/>
          <a:p>
            <a:pPr marR="261620" algn="l">
              <a:spcBef>
                <a:spcPts val="1000"/>
              </a:spcBef>
            </a:pPr>
            <a:r>
              <a:rPr lang="en-US" sz="2200" cap="all" spc="300" dirty="0">
                <a:solidFill>
                  <a:schemeClr val="accent1">
                    <a:lumMod val="75000"/>
                  </a:schemeClr>
                </a:solidFill>
                <a:latin typeface="Franklin Gothic Medium" panose="020B0603020102020204" pitchFamily="34" charset="0"/>
                <a:ea typeface="+mn-ea"/>
                <a:cs typeface="+mn-cs"/>
              </a:rPr>
              <a:t>Call for Proposals: Evaluation of New TB Diagnostics and Testing Strategies – FEND-TB.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24ED1520-328A-488E-AE4D-76029A37B8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9153" y="3895060"/>
            <a:ext cx="9144000" cy="22161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 algn="l">
              <a:lnSpc>
                <a:spcPts val="176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mpany Name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ts val="176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mpany Location</a:t>
            </a:r>
          </a:p>
          <a:p>
            <a:pPr marL="285750" indent="-285750" algn="l">
              <a:lnSpc>
                <a:spcPts val="176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GB" sz="18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ncorporation Status</a:t>
            </a:r>
          </a:p>
          <a:p>
            <a:pPr marL="285750" indent="-285750" algn="l">
              <a:lnSpc>
                <a:spcPts val="176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ntact Person and Information</a:t>
            </a:r>
          </a:p>
          <a:p>
            <a:pPr marL="285750" indent="-285750" algn="l">
              <a:lnSpc>
                <a:spcPts val="176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  <a:p>
            <a:endParaRPr lang="en-US" dirty="0">
              <a:cs typeface="Calibri"/>
            </a:endParaRPr>
          </a:p>
        </p:txBody>
      </p:sp>
      <p:pic>
        <p:nvPicPr>
          <p:cNvPr id="4" name="Picture 3" descr="A logo for a company&#10;&#10;AI-generated content may be incorrect.">
            <a:extLst>
              <a:ext uri="{FF2B5EF4-FFF2-40B4-BE49-F238E27FC236}">
                <a16:creationId xmlns:a16="http://schemas.microsoft.com/office/drawing/2014/main" id="{EAA1F88F-1808-6D8B-DEE3-10BF2AB290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835" y="5111996"/>
            <a:ext cx="2599165" cy="174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342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C1A8CA-C803-FDFC-BBAB-B0873F667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10E837-3FEC-BEA4-501D-F3EC40E00F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725" y="2235834"/>
            <a:ext cx="10440000" cy="39195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PRODUCT INFORMATION</a:t>
            </a:r>
          </a:p>
          <a:p>
            <a:pPr marL="0" indent="0">
              <a:buNone/>
            </a:pP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ify the intended use case (e.g., triage, confirmatory diagnosis, treatment monitor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icate target analytes, including any resistance markers, and specify sample ty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scribe current stage of development and key barriers to product launch (e.g., regulatory status, anticipated market entry dat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utline any envisioned study design (e.g., research question(s)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Picture 4" descr="A logo for a company&#10;&#10;AI-generated content may be incorrect.">
            <a:extLst>
              <a:ext uri="{FF2B5EF4-FFF2-40B4-BE49-F238E27FC236}">
                <a16:creationId xmlns:a16="http://schemas.microsoft.com/office/drawing/2014/main" id="{89BC9E48-6CA4-C884-0638-76E9B8D566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835" y="5111996"/>
            <a:ext cx="2599165" cy="174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69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F7BAA-B644-EC9B-C54E-2B57FA137C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915FE5-8CC0-E3F3-8306-EC6CA011D6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725" y="2058034"/>
            <a:ext cx="10440000" cy="39195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TECHNOLOGY</a:t>
            </a:r>
          </a:p>
          <a:p>
            <a:pPr marL="0" indent="0">
              <a:buNone/>
            </a:pPr>
            <a:endParaRPr lang="en-US" sz="200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cap="none" spc="0" dirty="0">
                <a:solidFill>
                  <a:prstClr val="black"/>
                </a:solidFill>
                <a:latin typeface="Arial"/>
                <a:cs typeface="Arial"/>
              </a:rPr>
              <a:t>A graphic describing the technology and its process flow from sample to decision. 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cap="none" spc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 preparation, processing and integration into the technology.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cap="none" spc="0" dirty="0">
                <a:solidFill>
                  <a:schemeClr val="tx1"/>
                </a:solidFill>
                <a:latin typeface="Arial"/>
                <a:cs typeface="Arial"/>
              </a:rPr>
              <a:t>Time to results from (e.g. time from sample processing to detection)</a:t>
            </a:r>
            <a:endParaRPr lang="en-US" sz="2000" cap="none" spc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oto of the technolog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cap="none" spc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bility considerations (e.g., operating, connectivity, power, training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de IF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cap="none" spc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example of </a:t>
            </a:r>
            <a:r>
              <a:rPr lang="en-US" sz="2000" cap="none" spc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readou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pic>
        <p:nvPicPr>
          <p:cNvPr id="5" name="Picture 4" descr="A logo for a company&#10;&#10;AI-generated content may be incorrect.">
            <a:extLst>
              <a:ext uri="{FF2B5EF4-FFF2-40B4-BE49-F238E27FC236}">
                <a16:creationId xmlns:a16="http://schemas.microsoft.com/office/drawing/2014/main" id="{96A41BF3-6E67-5441-A895-113ED4281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835" y="5111996"/>
            <a:ext cx="2599165" cy="174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97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30D83-39D7-E8A8-DDA2-929D3B864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2EDDE7-66B0-C4A4-B35F-DFB4EB0215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725" y="2070734"/>
            <a:ext cx="10440000" cy="39195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(if available)</a:t>
            </a:r>
          </a:p>
          <a:p>
            <a:pPr marL="0" indent="0">
              <a:buNone/>
            </a:pP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cap="none" spc="0" dirty="0">
                <a:solidFill>
                  <a:prstClr val="black"/>
                </a:solidFill>
                <a:latin typeface="Arial"/>
                <a:cs typeface="Arial"/>
              </a:rPr>
              <a:t>Analytical data (e.g. limit of detection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cap="none" spc="0" dirty="0">
                <a:solidFill>
                  <a:prstClr val="black"/>
                </a:solidFill>
                <a:latin typeface="Arial"/>
                <a:cs typeface="Arial"/>
              </a:rPr>
              <a:t>Clinical data (e.g., population previously tested)</a:t>
            </a:r>
          </a:p>
        </p:txBody>
      </p:sp>
      <p:pic>
        <p:nvPicPr>
          <p:cNvPr id="5" name="Picture 4" descr="A logo for a company&#10;&#10;AI-generated content may be incorrect.">
            <a:extLst>
              <a:ext uri="{FF2B5EF4-FFF2-40B4-BE49-F238E27FC236}">
                <a16:creationId xmlns:a16="http://schemas.microsoft.com/office/drawing/2014/main" id="{94A0EED7-FC9B-6EDA-1EB2-45CF5E162A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835" y="5111996"/>
            <a:ext cx="2599165" cy="174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36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>Ranga Sampath;#1281;#Amy Wong;#66;#Cecilia Ferreyra;#28;#Jeremie Piton;#153;#Laura Mazzola;#587;#Peter Dailey</DisplayName>
        <AccountId>197</AccountId>
        <AccountType/>
      </UserInfo>
    </SharedWithUsers>
    <MediaLengthInSeconds xmlns="5a1bbd72-f46e-43f3-8f72-2623deb0c047" xsi:nil="true"/>
    <TaxCatchAll xmlns="10c4dcad-8d39-4939-b489-2456ead71196" xsi:nil="true"/>
    <lcf76f155ced4ddcb4097134ff3c332f xmlns="5a1bbd72-f46e-43f3-8f72-2623deb0c04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22" ma:contentTypeDescription="Create a new document." ma:contentTypeScope="" ma:versionID="c4f4c75b41a74be3bc7eadaa1e08eaa0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19aeccfb4ad5f60af311e43ed47fa701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891e9d6-a12c-4c86-87cb-8721f0ea6f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6b0a597-f2ee-4da4-9caf-9ff717947869}" ma:internalName="TaxCatchAll" ma:showField="CatchAllData" ma:web="10c4dcad-8d39-4939-b489-2456ead711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8B4AA4-03AE-449D-8F34-081FD4222CD2}">
  <ds:schemaRefs>
    <ds:schemaRef ds:uri="5a1bbd72-f46e-43f3-8f72-2623deb0c047"/>
    <ds:schemaRef ds:uri="http://purl.org/dc/elements/1.1/"/>
    <ds:schemaRef ds:uri="http://www.w3.org/XML/1998/namespace"/>
    <ds:schemaRef ds:uri="10c4dcad-8d39-4939-b489-2456ead71196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BD9848C-054F-4E29-B4AE-50EC62AECF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728E38-2054-479A-BB9F-2E41EA2D92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1bbd72-f46e-43f3-8f72-2623deb0c047"/>
    <ds:schemaRef ds:uri="10c4dcad-8d39-4939-b489-2456ead711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277b9de-ec8d-46a4-9b63-4b30e2b6c9a1}" enabled="0" method="" siteId="{8277b9de-ec8d-46a4-9b63-4b30e2b6c9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035</TotalTime>
  <Words>237</Words>
  <Application>Microsoft Macintosh PowerPoint</Application>
  <PresentationFormat>Widescreen</PresentationFormat>
  <Paragraphs>2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Franklin Gothic Book</vt:lpstr>
      <vt:lpstr>Franklin Gothic Medium</vt:lpstr>
      <vt:lpstr>Trebuchet MS</vt:lpstr>
      <vt:lpstr>Wingdings</vt:lpstr>
      <vt:lpstr>Office Theme</vt:lpstr>
      <vt:lpstr>*FIND template*</vt:lpstr>
      <vt:lpstr>think-cell Slide</vt:lpstr>
      <vt:lpstr>Instructions</vt:lpstr>
      <vt:lpstr>Call for Proposals: Evaluation of New TB Diagnostics and Testing Strategies – FEND-TB.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ie Jotikasthira</dc:creator>
  <cp:lastModifiedBy>Alix Boisson-Walsh</cp:lastModifiedBy>
  <cp:revision>6</cp:revision>
  <dcterms:created xsi:type="dcterms:W3CDTF">2021-06-16T15:00:09Z</dcterms:created>
  <dcterms:modified xsi:type="dcterms:W3CDTF">2025-08-12T18:0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  <property fmtid="{D5CDD505-2E9C-101B-9397-08002B2CF9AE}" pid="3" name="Order">
    <vt:r8>208077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MediaServiceImageTags">
    <vt:lpwstr/>
  </property>
  <property fmtid="{D5CDD505-2E9C-101B-9397-08002B2CF9AE}" pid="10" name="_AdHocReviewCycleID">
    <vt:i4>-1627529259</vt:i4>
  </property>
  <property fmtid="{D5CDD505-2E9C-101B-9397-08002B2CF9AE}" pid="11" name="_NewReviewCycle">
    <vt:lpwstr/>
  </property>
  <property fmtid="{D5CDD505-2E9C-101B-9397-08002B2CF9AE}" pid="12" name="_EmailSubject">
    <vt:lpwstr>PP Presentation Tempalte - FEND 2 </vt:lpwstr>
  </property>
  <property fmtid="{D5CDD505-2E9C-101B-9397-08002B2CF9AE}" pid="13" name="_AuthorEmail">
    <vt:lpwstr>borkman@musc.edu</vt:lpwstr>
  </property>
  <property fmtid="{D5CDD505-2E9C-101B-9397-08002B2CF9AE}" pid="14" name="_AuthorEmailDisplayName">
    <vt:lpwstr>Borkman, April L.</vt:lpwstr>
  </property>
</Properties>
</file>